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914400" y="914400"/>
            <a:ext cx="1828800"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100" name="Rectangle 99"/>
          <p:cNvSpPr/>
          <p:nvPr/>
        </p:nvSpPr>
        <p:spPr>
          <a:xfrm>
            <a:off x="914400" y="9144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testing 1234456565656</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